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354" r:id="rId2"/>
    <p:sldId id="257" r:id="rId3"/>
    <p:sldId id="265" r:id="rId4"/>
    <p:sldId id="258" r:id="rId5"/>
    <p:sldId id="356" r:id="rId6"/>
    <p:sldId id="357" r:id="rId7"/>
    <p:sldId id="262" r:id="rId8"/>
    <p:sldId id="263" r:id="rId9"/>
    <p:sldId id="264" r:id="rId10"/>
    <p:sldId id="259" r:id="rId11"/>
    <p:sldId id="261" r:id="rId12"/>
    <p:sldId id="358" r:id="rId13"/>
    <p:sldId id="359" r:id="rId14"/>
    <p:sldId id="360" r:id="rId15"/>
    <p:sldId id="267" r:id="rId16"/>
    <p:sldId id="35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32C71"/>
    <a:srgbClr val="FAF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70"/>
    <p:restoredTop sz="94651"/>
  </p:normalViewPr>
  <p:slideViewPr>
    <p:cSldViewPr snapToGrid="0">
      <p:cViewPr varScale="1">
        <p:scale>
          <a:sx n="84" d="100"/>
          <a:sy n="84" d="100"/>
        </p:scale>
        <p:origin x="200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8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13C95A-20A0-4531-8921-A38B4BD28AC9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B5C160-3F9D-4D32-9C41-B54B1C1A4D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7641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085C44-69C6-A84F-B76D-619814D9579D}" type="datetimeFigureOut">
              <a:rPr lang="ru-RU" smtClean="0"/>
              <a:t>25.12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E80771-4438-0545-8EA9-3928AADF6B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562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C83B01-EF60-4EED-A82C-234EB28733EA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9334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402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067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245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 и содерж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255574" y="1508787"/>
            <a:ext cx="9722865" cy="4800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/>
            </a:lvl1pPr>
            <a:lvl2pPr>
              <a:lnSpc>
                <a:spcPct val="100000"/>
              </a:lnSpc>
              <a:spcBef>
                <a:spcPts val="0"/>
              </a:spcBef>
              <a:defRPr sz="1867"/>
            </a:lvl2pPr>
            <a:lvl5pPr marL="536576" indent="-207963" algn="l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ED64B"/>
              </a:buClr>
              <a:buFont typeface="Wingdings" panose="05000000000000000000" pitchFamily="2" charset="2"/>
              <a:buChar char="§"/>
              <a:defRPr sz="1867"/>
            </a:lvl5pPr>
            <a:lvl6pPr marL="811213" indent="-209549" algn="l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4647C"/>
              </a:buClr>
              <a:buFont typeface="Wingdings" pitchFamily="2" charset="2"/>
              <a:buChar char="§"/>
              <a:tabLst>
                <a:tab pos="2149476" algn="l"/>
              </a:tabLst>
              <a:defRPr sz="1467"/>
            </a:lvl6pPr>
          </a:lstStyle>
          <a:p>
            <a:pPr lvl="0"/>
            <a:r>
              <a:rPr lang="ru-RU" altLang="ru-RU" dirty="0"/>
              <a:t>Описание</a:t>
            </a:r>
            <a:endParaRPr lang="en-US" altLang="ru-RU" dirty="0"/>
          </a:p>
          <a:p>
            <a:pPr lvl="1"/>
            <a:r>
              <a:rPr lang="ru-RU" altLang="ru-RU" dirty="0"/>
              <a:t>Второй уровень</a:t>
            </a:r>
            <a:endParaRPr lang="en-US" altLang="ru-RU" dirty="0"/>
          </a:p>
          <a:p>
            <a:pPr marL="536576" lvl="4" indent="-2079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ED64B"/>
              </a:buClr>
              <a:buFont typeface="Wingdings" panose="05000000000000000000" pitchFamily="2" charset="2"/>
              <a:buChar char="§"/>
            </a:pPr>
            <a:r>
              <a:rPr lang="ru-RU" altLang="ru-RU" dirty="0"/>
              <a:t>Третий уровень</a:t>
            </a:r>
            <a:endParaRPr lang="en-US" altLang="ru-RU" dirty="0"/>
          </a:p>
          <a:p>
            <a:pPr marL="811213" lvl="5" indent="-209549" algn="l" rtl="0" fontAlgn="base">
              <a:spcBef>
                <a:spcPct val="20000"/>
              </a:spcBef>
              <a:spcAft>
                <a:spcPct val="0"/>
              </a:spcAft>
              <a:buClr>
                <a:srgbClr val="44647C"/>
              </a:buClr>
              <a:buFont typeface="Wingdings" pitchFamily="2" charset="2"/>
              <a:buChar char="§"/>
              <a:tabLst>
                <a:tab pos="2149476" algn="l"/>
              </a:tabLst>
            </a:pPr>
            <a:r>
              <a:rPr lang="ru-RU" altLang="ru-RU" dirty="0"/>
              <a:t>Четвёртый уровень (лучше не использовать, а упростить подачу информации на слайде)</a:t>
            </a:r>
          </a:p>
        </p:txBody>
      </p:sp>
    </p:spTree>
    <p:extLst>
      <p:ext uri="{BB962C8B-B14F-4D97-AF65-F5344CB8AC3E}">
        <p14:creationId xmlns:p14="http://schemas.microsoft.com/office/powerpoint/2010/main" val="1871164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063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962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45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162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33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291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10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04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0F997-E1FB-41E4-B5DB-E2D1AB72F372}" type="datetimeFigureOut">
              <a:rPr lang="en-US" smtClean="0"/>
              <a:t>12/25/1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8B54F2-3E95-4D20-991B-704843273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05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vpn.tsconsulting.ru/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2BC3D4-DD38-F749-8202-23930D8CE2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92869"/>
            <a:ext cx="12192000" cy="6950869"/>
          </a:xfrm>
          <a:prstGeom prst="rect">
            <a:avLst/>
          </a:prstGeom>
        </p:spPr>
      </p:pic>
      <p:pic>
        <p:nvPicPr>
          <p:cNvPr id="7" name="Изображение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3625" y="133920"/>
            <a:ext cx="2397779" cy="1369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4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15413" y="3992974"/>
            <a:ext cx="3569923" cy="45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7" tIns="34284" rIns="68567" bIns="34284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rgbClr val="25558F"/>
                </a:solidFill>
              </a:rPr>
              <a:t>«</a:t>
            </a:r>
            <a:r>
              <a:rPr lang="ru-RU" altLang="ru-RU" sz="2400" dirty="0" err="1">
                <a:solidFill>
                  <a:srgbClr val="25558F"/>
                </a:solidFill>
              </a:rPr>
              <a:t>Техносерв</a:t>
            </a:r>
            <a:r>
              <a:rPr lang="ru-RU" altLang="ru-RU" sz="2400" dirty="0">
                <a:solidFill>
                  <a:srgbClr val="25558F"/>
                </a:solidFill>
              </a:rPr>
              <a:t> Консалтинг»</a:t>
            </a:r>
            <a:endParaRPr lang="ru-RU" altLang="ru-RU" sz="1500" dirty="0">
              <a:solidFill>
                <a:srgbClr val="25558F"/>
              </a:solidFill>
            </a:endParaRPr>
          </a:p>
        </p:txBody>
      </p:sp>
      <p:pic>
        <p:nvPicPr>
          <p:cNvPr id="9" name="Picture 2" descr="image0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035" y="4819938"/>
            <a:ext cx="1546247" cy="44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4">
            <a:hlinkClick r:id="rId8"/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815413" y="5455862"/>
            <a:ext cx="3569923" cy="430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7" tIns="34284" rIns="68567" bIns="34284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sz="1500" dirty="0">
                <a:solidFill>
                  <a:srgbClr val="25558F"/>
                </a:solidFill>
                <a:latin typeface="Calibri" panose="020F0502020204030204" pitchFamily="34" charset="0"/>
              </a:rPr>
              <a:t>Тел. +7(495) 981-92-92</a:t>
            </a:r>
            <a:endParaRPr lang="en-US" sz="1500" dirty="0">
              <a:solidFill>
                <a:srgbClr val="25558F"/>
              </a:solidFill>
              <a:latin typeface="Calibri" panose="020F050202020403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sz="1500" dirty="0">
                <a:solidFill>
                  <a:srgbClr val="25558F"/>
                </a:solidFill>
                <a:latin typeface="Calibri" panose="020F0502020204030204" pitchFamily="34" charset="0"/>
              </a:rPr>
              <a:t>www.tsconsulting.com</a:t>
            </a:r>
            <a:endParaRPr lang="ru-RU" sz="1500" dirty="0">
              <a:solidFill>
                <a:srgbClr val="25558F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38035" y="1829779"/>
            <a:ext cx="9836656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solidFill>
                  <a:srgbClr val="0D2B90"/>
                </a:solidFill>
                <a:ea typeface="Roboto" pitchFamily="2" charset="0"/>
              </a:rPr>
              <a:t>«Предложения по обновлению интерфейса </a:t>
            </a:r>
            <a:r>
              <a:rPr lang="ru-RU" sz="3600" b="1" dirty="0" err="1">
                <a:solidFill>
                  <a:srgbClr val="0D2B90"/>
                </a:solidFill>
                <a:ea typeface="Roboto" pitchFamily="2" charset="0"/>
              </a:rPr>
              <a:t>дашбордов</a:t>
            </a:r>
            <a:r>
              <a:rPr lang="ru-RU" sz="3600" b="1" dirty="0">
                <a:solidFill>
                  <a:srgbClr val="0D2B90"/>
                </a:solidFill>
                <a:ea typeface="Roboto" pitchFamily="2" charset="0"/>
              </a:rPr>
              <a:t> BI в системе ЕФР»</a:t>
            </a:r>
            <a:endParaRPr lang="ru-RU" altLang="ru-RU" sz="3200" b="1" dirty="0">
              <a:solidFill>
                <a:srgbClr val="0D2B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653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C5559C5-6272-D34D-BAE5-F7DF0C0BD1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6000" y="1502953"/>
            <a:ext cx="9000000" cy="38520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FA4589-A2E8-DE46-896B-A656EF82EB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01FACE2-6196-994C-92A0-4F259D09E083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ашборд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Динамика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О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9836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A58323A-31C0-F84A-A5A3-EE0517EE9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000" y="730187"/>
            <a:ext cx="5220000" cy="5872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3DAAEFD-0B3E-1E4E-91E8-3AD1D00CC4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3CA3E8C-FDB7-4948-BDC6-D675A39B532E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етализация Динамика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ПОСЛЕ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98702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3DAAEFD-0B3E-1E4E-91E8-3AD1D00CC4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3CA3E8C-FDB7-4948-BDC6-D675A39B532E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етализация Динамика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ПОСЛЕ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A9514C-18EF-0A4E-8044-5E27A2B3C3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000" y="876505"/>
            <a:ext cx="2736000" cy="595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9348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C78309-1253-BA4F-954F-9FEE490526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8000" y="824506"/>
            <a:ext cx="5076000" cy="6006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3DAAEFD-0B3E-1E4E-91E8-3AD1D00CC4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3CA3E8C-FDB7-4948-BDC6-D675A39B532E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етализация Динамика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ПОСЛЕ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11468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2BD06D-3F4F-FA49-A0D1-23B32A07E0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8000" y="795000"/>
            <a:ext cx="5076000" cy="6063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3DAAEFD-0B3E-1E4E-91E8-3AD1D00CC4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3CA3E8C-FDB7-4948-BDC6-D675A39B532E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етализация Динамика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ПОСЛЕ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0683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nline Media 2" descr="Comp 3_2о.mp4">
            <a:hlinkClick r:id="" action="ppaction://media"/>
            <a:extLst>
              <a:ext uri="{FF2B5EF4-FFF2-40B4-BE49-F238E27FC236}">
                <a16:creationId xmlns:a16="http://schemas.microsoft.com/office/drawing/2014/main" id="{5966C3A0-A554-CF4F-BCFA-7C1B9B8F955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169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08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3"/>
          <p:cNvSpPr>
            <a:spLocks noChangeArrowheads="1"/>
          </p:cNvSpPr>
          <p:nvPr/>
        </p:nvSpPr>
        <p:spPr bwMode="auto">
          <a:xfrm>
            <a:off x="0" y="24189"/>
            <a:ext cx="9616735" cy="70173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ru-RU" sz="4400" b="1" dirty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23"/>
          <p:cNvSpPr>
            <a:spLocks noChangeArrowheads="1"/>
          </p:cNvSpPr>
          <p:nvPr/>
        </p:nvSpPr>
        <p:spPr bwMode="auto">
          <a:xfrm>
            <a:off x="0" y="927379"/>
            <a:ext cx="12192000" cy="59306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48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Спасибо за внимание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40D8AB-3044-5344-BE79-B443FB746E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1100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EB2DEDE-3C15-4B47-AD24-2EBE65C193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9939" y="26894"/>
            <a:ext cx="4555602" cy="703293"/>
          </a:xfrm>
        </p:spPr>
        <p:txBody>
          <a:bodyPr>
            <a:normAutofit/>
          </a:bodyPr>
          <a:lstStyle/>
          <a:p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ашборд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 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О</a:t>
            </a:r>
            <a:endParaRPr lang="en-US" sz="2400" b="1" dirty="0">
              <a:solidFill>
                <a:srgbClr val="132C7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CDE161-932C-4841-9BFC-663A80C50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6000" y="1170636"/>
            <a:ext cx="8820000" cy="542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082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9B3EC-800B-6049-93AA-B9A4793DF2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86000" y="450850"/>
            <a:ext cx="8820000" cy="61311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3129D1-33EC-9746-BE17-8447E621F0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0419910-5500-1E4E-A884-6ABD2D6F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938" y="26894"/>
            <a:ext cx="8647362" cy="703293"/>
          </a:xfrm>
        </p:spPr>
        <p:txBody>
          <a:bodyPr>
            <a:noAutofit/>
          </a:bodyPr>
          <a:lstStyle/>
          <a:p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ашборд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– ПОСЛЕ. Макет с визуализациями 3D</a:t>
            </a:r>
            <a:endParaRPr lang="en-US" sz="2400" b="1" dirty="0">
              <a:solidFill>
                <a:srgbClr val="132C7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166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9B1621C-7648-2145-9910-5BEB0904FA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86000" y="452338"/>
            <a:ext cx="8820000" cy="61311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983F791-1A09-EB41-AF18-EFF2141DA6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7D8DFD4-4B1A-7A41-B885-F1914F532418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ашборд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– ПОСЛЕ. Макет с визуализациями 2D</a:t>
            </a:r>
            <a:endParaRPr lang="en-US" sz="2400" b="1" dirty="0">
              <a:solidFill>
                <a:srgbClr val="132C7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0936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49F758-D5BE-B541-BC49-2B37A8EFA5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999" y="1033226"/>
            <a:ext cx="7200001" cy="574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983F791-1A09-EB41-AF18-EFF2141DA6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7D8DFD4-4B1A-7A41-B885-F1914F532418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ашборд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– ПОСЛЕ. Макет с визуализациями 2D</a:t>
            </a:r>
            <a:endParaRPr lang="en-US" sz="2400" b="1" dirty="0">
              <a:solidFill>
                <a:srgbClr val="132C7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010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B948E35-657E-B64F-855A-B169AB40C4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000" y="856400"/>
            <a:ext cx="6336000" cy="6001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983F791-1A09-EB41-AF18-EFF2141DA6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7D8DFD4-4B1A-7A41-B885-F1914F532418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ашборд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– ПОСЛЕ. Макет с визуализациями 2D</a:t>
            </a:r>
            <a:endParaRPr lang="en-US" sz="2400" b="1" dirty="0">
              <a:solidFill>
                <a:srgbClr val="132C7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660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CA9B42-1818-B547-A9BF-C427F6294E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B1F7232-8A31-2B41-85EE-922FA9AA25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000" y="1417205"/>
            <a:ext cx="9000000" cy="4023591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DC9643C-5E5B-874D-BE01-5F73F04C1103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етализация 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 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О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2496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0F46F1-8795-A14F-B919-484408E09A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200" y="789391"/>
            <a:ext cx="8823600" cy="60417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5A808D-412F-3142-863C-B78BB572D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901700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1CC7E95-A77E-B447-BCB2-DB7426E78902}"/>
              </a:ext>
            </a:extLst>
          </p:cNvPr>
          <p:cNvSpPr txBox="1">
            <a:spLocks/>
          </p:cNvSpPr>
          <p:nvPr/>
        </p:nvSpPr>
        <p:spPr>
          <a:xfrm>
            <a:off x="229938" y="26894"/>
            <a:ext cx="8647362" cy="7032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Детализация 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ipeline – </a:t>
            </a:r>
            <a:r>
              <a:rPr lang="ru-RU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ПОСЛЕ</a:t>
            </a:r>
            <a:r>
              <a:rPr lang="en-US" sz="2400" b="1" dirty="0">
                <a:solidFill>
                  <a:srgbClr val="132C7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1902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nline Media 1" descr="Comp 2_1.mp4">
            <a:hlinkClick r:id="" action="ppaction://media"/>
            <a:extLst>
              <a:ext uri="{FF2B5EF4-FFF2-40B4-BE49-F238E27FC236}">
                <a16:creationId xmlns:a16="http://schemas.microsoft.com/office/drawing/2014/main" id="{C52293C2-DA9F-D04C-AA13-E3EE5A13D93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66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98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Kx0moRBkK25O5Y1At9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mOlhWBwUicLE_QTNHp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mOlhWBwUicLE_QTNHpb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0[[fn=Окаймление]]</Template>
  <TotalTime>7743</TotalTime>
  <Words>99</Words>
  <Application>Microsoft Macintosh PowerPoint</Application>
  <PresentationFormat>Widescreen</PresentationFormat>
  <Paragraphs>18</Paragraphs>
  <Slides>16</Slides>
  <Notes>1</Notes>
  <HiddenSlides>0</HiddenSlides>
  <MMClips>2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alibri Light</vt:lpstr>
      <vt:lpstr>Wingdings</vt:lpstr>
      <vt:lpstr>Тема Office</vt:lpstr>
      <vt:lpstr>PowerPoint Presentation</vt:lpstr>
      <vt:lpstr>Дашборд Pipeline – ДО</vt:lpstr>
      <vt:lpstr>Дашборд Pipeline – ПОСЛЕ. Макет с визуализациями 3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«Предложения по обновлению интерфейса дашбордов BI в системе ЕФР»</dc:title>
  <dc:creator>Windows User</dc:creator>
  <cp:lastModifiedBy>Microsoft Office User</cp:lastModifiedBy>
  <cp:revision>33</cp:revision>
  <dcterms:created xsi:type="dcterms:W3CDTF">2019-12-12T11:54:33Z</dcterms:created>
  <dcterms:modified xsi:type="dcterms:W3CDTF">2019-12-25T12:34:06Z</dcterms:modified>
</cp:coreProperties>
</file>